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4" r:id="rId5"/>
    <p:sldMasterId id="2147483887" r:id="rId6"/>
    <p:sldMasterId id="2147483940" r:id="rId7"/>
    <p:sldMasterId id="2147484041" r:id="rId8"/>
    <p:sldMasterId id="2147484219" r:id="rId9"/>
    <p:sldMasterId id="2147484490" r:id="rId10"/>
  </p:sldMasterIdLst>
  <p:notesMasterIdLst>
    <p:notesMasterId r:id="rId19"/>
  </p:notesMasterIdLst>
  <p:handoutMasterIdLst>
    <p:handoutMasterId r:id="rId20"/>
  </p:handoutMasterIdLst>
  <p:sldIdLst>
    <p:sldId id="758" r:id="rId11"/>
    <p:sldId id="1256" r:id="rId12"/>
    <p:sldId id="1257" r:id="rId13"/>
    <p:sldId id="1258" r:id="rId14"/>
    <p:sldId id="1259" r:id="rId15"/>
    <p:sldId id="1260" r:id="rId16"/>
    <p:sldId id="1261" r:id="rId17"/>
    <p:sldId id="1262" r:id="rId1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E2DCB76-3592-4378-A0D9-B13AFEECCB0A}">
          <p14:sldIdLst>
            <p14:sldId id="758"/>
            <p14:sldId id="1256"/>
            <p14:sldId id="1257"/>
            <p14:sldId id="1258"/>
            <p14:sldId id="1259"/>
            <p14:sldId id="1260"/>
            <p14:sldId id="1261"/>
            <p14:sldId id="1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2" pos="2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31E"/>
    <a:srgbClr val="DEA400"/>
    <a:srgbClr val="5EACFF"/>
    <a:srgbClr val="DDD9C3"/>
    <a:srgbClr val="049ACC"/>
    <a:srgbClr val="99944F"/>
    <a:srgbClr val="CCBF04"/>
    <a:srgbClr val="B0D6FF"/>
    <a:srgbClr val="E6E3D2"/>
    <a:srgbClr val="FDF8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24" autoAdjust="0"/>
    <p:restoredTop sz="94934" autoAdjust="0"/>
  </p:normalViewPr>
  <p:slideViewPr>
    <p:cSldViewPr snapToGrid="0">
      <p:cViewPr varScale="1">
        <p:scale>
          <a:sx n="109" d="100"/>
          <a:sy n="109" d="100"/>
        </p:scale>
        <p:origin x="1974" y="96"/>
      </p:cViewPr>
      <p:guideLst>
        <p:guide orient="horz" pos="840"/>
        <p:guide pos="2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658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polyans\Desktop\Solar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/>
              <a:t>Irradiance</a:t>
            </a:r>
            <a:r>
              <a:rPr lang="en-US" sz="2000" baseline="0" dirty="0"/>
              <a:t> Measurement Comparison</a:t>
            </a:r>
            <a:endParaRPr lang="en-US" sz="2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01020591626282E-2"/>
          <c:y val="0.10196818562935969"/>
          <c:w val="0.86183641207990047"/>
          <c:h val="0.798865025882368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3</c:f>
              <c:strCache>
                <c:ptCount val="1"/>
                <c:pt idx="0">
                  <c:v>Solsensor (Photodiode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B$22:$H$22</c15:sqref>
                  </c15:fullRef>
                </c:ext>
              </c:extLst>
              <c:f>(Sheet1!$B$22:$F$22,Sheet1!$H$22)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3:$H$23</c15:sqref>
                  </c15:fullRef>
                </c:ext>
              </c:extLst>
              <c:f>(Sheet1!$B$23:$F$23,Sheet1!$H$23)</c:f>
              <c:numCache>
                <c:formatCode>General</c:formatCode>
                <c:ptCount val="6"/>
                <c:pt idx="0">
                  <c:v>865</c:v>
                </c:pt>
                <c:pt idx="1">
                  <c:v>75</c:v>
                </c:pt>
                <c:pt idx="2">
                  <c:v>755</c:v>
                </c:pt>
                <c:pt idx="3">
                  <c:v>475</c:v>
                </c:pt>
                <c:pt idx="4">
                  <c:v>155</c:v>
                </c:pt>
                <c:pt idx="5">
                  <c:v>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99-4F1E-8071-4909BAF74518}"/>
            </c:ext>
          </c:extLst>
        </c:ser>
        <c:ser>
          <c:idx val="2"/>
          <c:order val="2"/>
          <c:tx>
            <c:strRef>
              <c:f>Sheet1!$A$25</c:f>
              <c:strCache>
                <c:ptCount val="1"/>
                <c:pt idx="0">
                  <c:v>Seaward (Reference Cell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B$22:$H$22</c15:sqref>
                  </c15:fullRef>
                </c:ext>
              </c:extLst>
              <c:f>(Sheet1!$B$22:$F$22,Sheet1!$H$22)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5:$H$25</c15:sqref>
                  </c15:fullRef>
                </c:ext>
              </c:extLst>
              <c:f>(Sheet1!$B$25:$F$25,Sheet1!$H$25)</c:f>
              <c:numCache>
                <c:formatCode>General</c:formatCode>
                <c:ptCount val="6"/>
                <c:pt idx="0">
                  <c:v>886</c:v>
                </c:pt>
                <c:pt idx="1">
                  <c:v>0</c:v>
                </c:pt>
                <c:pt idx="2">
                  <c:v>754</c:v>
                </c:pt>
                <c:pt idx="3">
                  <c:v>450</c:v>
                </c:pt>
                <c:pt idx="4">
                  <c:v>162</c:v>
                </c:pt>
                <c:pt idx="5">
                  <c:v>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99-4F1E-8071-4909BAF74518}"/>
            </c:ext>
          </c:extLst>
        </c:ser>
        <c:ser>
          <c:idx val="4"/>
          <c:order val="4"/>
          <c:tx>
            <c:strRef>
              <c:f>Sheet1!$A$27</c:f>
              <c:strCache>
                <c:ptCount val="1"/>
                <c:pt idx="0">
                  <c:v>First Design (Reference Cell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B$22:$H$22</c15:sqref>
                  </c15:fullRef>
                </c:ext>
              </c:extLst>
              <c:f>(Sheet1!$B$22:$F$22,Sheet1!$H$22)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7:$H$27</c15:sqref>
                  </c15:fullRef>
                </c:ext>
              </c:extLst>
              <c:f>(Sheet1!$B$27:$F$27,Sheet1!$H$27)</c:f>
              <c:numCache>
                <c:formatCode>General</c:formatCode>
                <c:ptCount val="6"/>
                <c:pt idx="0">
                  <c:v>853</c:v>
                </c:pt>
                <c:pt idx="1">
                  <c:v>65</c:v>
                </c:pt>
                <c:pt idx="2">
                  <c:v>756</c:v>
                </c:pt>
                <c:pt idx="3">
                  <c:v>480</c:v>
                </c:pt>
                <c:pt idx="4">
                  <c:v>153</c:v>
                </c:pt>
                <c:pt idx="5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99-4F1E-8071-4909BAF74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34641951"/>
        <c:axId val="334798911"/>
      </c:barChart>
      <c:barChart>
        <c:barDir val="col"/>
        <c:grouping val="clustered"/>
        <c:varyColors val="0"/>
        <c:ser>
          <c:idx val="1"/>
          <c:order val="1"/>
          <c:tx>
            <c:strRef>
              <c:f>Sheet1!$A$24</c:f>
              <c:strCache>
                <c:ptCount val="1"/>
                <c:pt idx="0">
                  <c:v>S - low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B$22:$G$22</c15:sqref>
                  </c15:fullRef>
                </c:ext>
              </c:extLst>
              <c:f>Sheet1!$B$22:$F$22</c:f>
              <c:strCache>
                <c:ptCount val="5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4:$H$24</c15:sqref>
                  </c15:fullRef>
                </c:ext>
              </c:extLst>
              <c:f>(Sheet1!$B$24:$F$24,Sheet1!$H$24)</c:f>
              <c:numCache>
                <c:formatCode>General</c:formatCode>
                <c:ptCount val="6"/>
                <c:pt idx="0">
                  <c:v>855</c:v>
                </c:pt>
                <c:pt idx="1">
                  <c:v>55</c:v>
                </c:pt>
                <c:pt idx="2">
                  <c:v>745</c:v>
                </c:pt>
                <c:pt idx="3">
                  <c:v>465</c:v>
                </c:pt>
                <c:pt idx="4">
                  <c:v>135</c:v>
                </c:pt>
                <c:pt idx="5">
                  <c:v>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D99-4F1E-8071-4909BAF74518}"/>
            </c:ext>
          </c:extLst>
        </c:ser>
        <c:ser>
          <c:idx val="3"/>
          <c:order val="3"/>
          <c:tx>
            <c:strRef>
              <c:f>Sheet1!$A$26</c:f>
              <c:strCache>
                <c:ptCount val="1"/>
                <c:pt idx="0">
                  <c:v>Sea - low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B$22:$G$22</c15:sqref>
                  </c15:fullRef>
                </c:ext>
              </c:extLst>
              <c:f>Sheet1!$B$22:$F$22</c:f>
              <c:strCache>
                <c:ptCount val="5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6:$H$26</c15:sqref>
                  </c15:fullRef>
                </c:ext>
              </c:extLst>
              <c:f>(Sheet1!$B$26:$F$26,Sheet1!$H$26)</c:f>
              <c:numCache>
                <c:formatCode>General</c:formatCode>
                <c:ptCount val="6"/>
                <c:pt idx="0">
                  <c:v>880</c:v>
                </c:pt>
                <c:pt idx="1">
                  <c:v>0</c:v>
                </c:pt>
                <c:pt idx="2">
                  <c:v>750</c:v>
                </c:pt>
                <c:pt idx="3">
                  <c:v>446</c:v>
                </c:pt>
                <c:pt idx="4">
                  <c:v>154</c:v>
                </c:pt>
                <c:pt idx="5">
                  <c:v>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99-4F1E-8071-4909BAF74518}"/>
            </c:ext>
          </c:extLst>
        </c:ser>
        <c:ser>
          <c:idx val="5"/>
          <c:order val="5"/>
          <c:tx>
            <c:strRef>
              <c:f>Sheet1!$A$28</c:f>
              <c:strCache>
                <c:ptCount val="1"/>
                <c:pt idx="0">
                  <c:v>I - low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B$22:$G$22</c15:sqref>
                  </c15:fullRef>
                </c:ext>
              </c:extLst>
              <c:f>Sheet1!$B$22:$F$22</c:f>
              <c:strCache>
                <c:ptCount val="5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8:$H$28</c15:sqref>
                  </c15:fullRef>
                </c:ext>
              </c:extLst>
              <c:f>(Sheet1!$B$28:$F$28,Sheet1!$H$28)</c:f>
              <c:numCache>
                <c:formatCode>General</c:formatCode>
                <c:ptCount val="6"/>
                <c:pt idx="0">
                  <c:v>849</c:v>
                </c:pt>
                <c:pt idx="1">
                  <c:v>50</c:v>
                </c:pt>
                <c:pt idx="2">
                  <c:v>733</c:v>
                </c:pt>
                <c:pt idx="3">
                  <c:v>472</c:v>
                </c:pt>
                <c:pt idx="4">
                  <c:v>134</c:v>
                </c:pt>
                <c:pt idx="5">
                  <c:v>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99-4F1E-8071-4909BAF74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38339183"/>
        <c:axId val="329646975"/>
      </c:barChart>
      <c:lineChart>
        <c:grouping val="standard"/>
        <c:varyColors val="0"/>
        <c:ser>
          <c:idx val="6"/>
          <c:order val="6"/>
          <c:tx>
            <c:strRef>
              <c:f>Sheet1!$I$22</c:f>
              <c:strCache>
                <c:ptCount val="1"/>
                <c:pt idx="0">
                  <c:v>Inv. Value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Lit>
              <c:ptCount val="6"/>
              <c:pt idx="0">
                <c:v>July 22, 1:00pm</c:v>
              </c:pt>
              <c:pt idx="1">
                <c:v>July 23, 5:00pm</c:v>
              </c:pt>
              <c:pt idx="2">
                <c:v>July 29, 11:00am (Wind)</c:v>
              </c:pt>
              <c:pt idx="3">
                <c:v>July 29, 5:30pm</c:v>
              </c:pt>
              <c:pt idx="4">
                <c:v>July 30, 10:00am</c:v>
              </c:pt>
              <c:pt idx="5">
                <c:v>July 30, 1:00pm (Wind)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I$23</c15:sqref>
                  </c15:fullRef>
                </c:ext>
              </c:extLst>
              <c:f>Sheet1!$I$23</c:f>
              <c:numCache>
                <c:formatCode>General</c:formatCode>
                <c:ptCount val="1"/>
                <c:pt idx="0">
                  <c:v>9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D99-4F1E-8071-4909BAF74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8339183"/>
        <c:axId val="329646975"/>
      </c:lineChart>
      <c:catAx>
        <c:axId val="33464195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 &amp;</a:t>
                </a:r>
                <a:r>
                  <a:rPr lang="en-US" baseline="0" dirty="0"/>
                  <a:t> Time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798911"/>
        <c:crosses val="autoZero"/>
        <c:auto val="1"/>
        <c:lblAlgn val="ctr"/>
        <c:lblOffset val="100"/>
        <c:noMultiLvlLbl val="0"/>
      </c:catAx>
      <c:valAx>
        <c:axId val="334798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</a:t>
                </a:r>
                <a:r>
                  <a:rPr lang="en-US" baseline="0" dirty="0"/>
                  <a:t> (W/m</a:t>
                </a:r>
                <a:r>
                  <a:rPr lang="en-US" baseline="30000" dirty="0"/>
                  <a:t>2</a:t>
                </a:r>
                <a:r>
                  <a:rPr lang="en-US" baseline="0" dirty="0"/>
                  <a:t>)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641951"/>
        <c:crosses val="autoZero"/>
        <c:crossBetween val="between"/>
      </c:valAx>
      <c:valAx>
        <c:axId val="32964697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</a:t>
                </a:r>
                <a:r>
                  <a:rPr lang="en-US" baseline="0" dirty="0"/>
                  <a:t> (W/m</a:t>
                </a:r>
                <a:r>
                  <a:rPr lang="en-US" baseline="30000" dirty="0"/>
                  <a:t>2</a:t>
                </a:r>
                <a:r>
                  <a:rPr lang="en-US" baseline="0" dirty="0"/>
                  <a:t>)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8339183"/>
        <c:crosses val="max"/>
        <c:crossBetween val="between"/>
      </c:valAx>
      <c:catAx>
        <c:axId val="3383391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964697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ayout>
        <c:manualLayout>
          <c:xMode val="edge"/>
          <c:yMode val="edge"/>
          <c:x val="0.5191479415172755"/>
          <c:y val="9.7603288431922952E-2"/>
          <c:w val="0.4036582873404061"/>
          <c:h val="0.250340135511822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b" anchorCtr="0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4E2511B-9924-4978-B931-4A6350C6B1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1C9171-58A9-4334-B844-CD0DF227C1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639EA9-2D35-49D2-BFC3-A01F405CEC98}" type="datetimeFigureOut">
              <a:rPr lang="en-US" smtClean="0"/>
              <a:t>8/7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9A9083-E3C6-4CFC-9963-CA72E66BA4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DAA04B-BB39-4A86-882E-0FA3A0922B8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0C35A-4A8D-4394-BD6E-13809982FC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5980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216B53D-5669-4B18-A688-E808A34A047D}" type="datetimeFigureOut">
              <a:rPr lang="en-US" smtClean="0"/>
              <a:t>8/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ACB7D3E-F2E7-45BE-BBB8-EBDFB6A63E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6714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55178-8E87-4873-953E-E2D2488573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CB7D3E-F2E7-45BE-BBB8-EBDFB6A63EC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90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11270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312734"/>
            <a:ext cx="68580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Flk_1_5_123_NB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8349" y="274032"/>
            <a:ext cx="2005651" cy="658390"/>
          </a:xfrm>
          <a:prstGeom prst="rect">
            <a:avLst/>
          </a:prstGeom>
        </p:spPr>
      </p:pic>
      <p:pic>
        <p:nvPicPr>
          <p:cNvPr id="8" name="Picture 7" descr="Flk_1_5_123_N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8349" y="274032"/>
            <a:ext cx="2005651" cy="65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888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20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50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458" y="1313561"/>
            <a:ext cx="8634222" cy="4351338"/>
          </a:xfr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9144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-Header</a:t>
            </a:r>
          </a:p>
        </p:txBody>
      </p:sp>
    </p:spTree>
    <p:extLst>
      <p:ext uri="{BB962C8B-B14F-4D97-AF65-F5344CB8AC3E}">
        <p14:creationId xmlns:p14="http://schemas.microsoft.com/office/powerpoint/2010/main" val="11987765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71016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80160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91019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28453949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71016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48880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3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348575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4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52984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4824984" y="3861688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779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kk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28599" y="1152335"/>
            <a:ext cx="8686800" cy="36391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28599" y="4882960"/>
            <a:ext cx="8686800" cy="11525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2185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390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71016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533"/>
            <a:ext cx="0" cy="2320991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12706" y="3500745"/>
            <a:ext cx="9088616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4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52984" y="3852544"/>
            <a:ext cx="8662416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4906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343" y="1608490"/>
            <a:ext cx="77724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8343" y="3268577"/>
            <a:ext cx="70866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110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82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41443493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163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725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135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7712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690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7855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5711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6145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988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76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t"/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7003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17947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53701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35702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0492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6428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37761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12657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137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45087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2282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458" y="1313561"/>
            <a:ext cx="8634222" cy="4351338"/>
          </a:xfr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9144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-Header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56069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5878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09480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54136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51579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456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51829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6149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77966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394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1268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71016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80160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91019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8" name="Straight Connector 17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4287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38411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4294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4695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8314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0885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75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0102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3465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0354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86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044427" y="887186"/>
            <a:ext cx="0" cy="36074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6087624" y="887186"/>
            <a:ext cx="0" cy="36074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044427" y="1222883"/>
            <a:ext cx="0" cy="497617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087624" y="1222883"/>
            <a:ext cx="0" cy="5196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3044427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028950" y="913243"/>
            <a:ext cx="3044427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6098958" y="913243"/>
            <a:ext cx="3044427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3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71016"/>
            <a:ext cx="2602282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17"/>
          </p:nvPr>
        </p:nvSpPr>
        <p:spPr>
          <a:xfrm>
            <a:off x="3250022" y="1271016"/>
            <a:ext cx="2602282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2"/>
          <p:cNvSpPr>
            <a:spLocks noGrp="1"/>
          </p:cNvSpPr>
          <p:nvPr>
            <p:ph sz="half" idx="18"/>
          </p:nvPr>
        </p:nvSpPr>
        <p:spPr>
          <a:xfrm>
            <a:off x="6314671" y="1271016"/>
            <a:ext cx="2602282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7863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19797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409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3602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6393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57141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5967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286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5774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8165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40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48880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3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348575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4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28600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795005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20"/>
          </p:nvPr>
        </p:nvSpPr>
        <p:spPr>
          <a:xfrm>
            <a:off x="4795005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24" name="Straight Connector 23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45014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742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098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497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6144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6662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08932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5635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44277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18012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74452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kk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28599" y="1152335"/>
            <a:ext cx="8686800" cy="3639121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28599" y="4882960"/>
            <a:ext cx="8686800" cy="11525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6575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5742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177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31775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19775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75098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30871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2973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77683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 w/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33048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/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156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35421543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82530" y="199383"/>
            <a:ext cx="6311387" cy="60025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1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288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895601" y="199383"/>
            <a:ext cx="6124575" cy="600251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1800" b="1" cap="none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874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819"/>
            <a:ext cx="4038600" cy="4525911"/>
          </a:xfrm>
          <a:prstGeom prst="rect">
            <a:avLst/>
          </a:prstGeo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819"/>
            <a:ext cx="4038600" cy="4525911"/>
          </a:xfrm>
          <a:prstGeom prst="rect">
            <a:avLst/>
          </a:prstGeo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021"/>
            <a:ext cx="21336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2571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68763" y="6433210"/>
            <a:ext cx="3990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166"/>
            <a:fld id="{3E0C6D86-AA7F-4012-AF6A-27A62F614BD1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61233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68763" y="6433210"/>
            <a:ext cx="3990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166"/>
            <a:fld id="{3E0C6D86-AA7F-4012-AF6A-27A62F614BD1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8086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Flk_Calibratio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642" y="104468"/>
            <a:ext cx="1755775" cy="705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" y="255028"/>
            <a:ext cx="9067800" cy="62834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98097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2.xml"/><Relationship Id="rId15" Type="http://schemas.openxmlformats.org/officeDocument/2006/relationships/image" Target="../media/image12.pn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91.xml"/><Relationship Id="rId9" Type="http://schemas.openxmlformats.org/officeDocument/2006/relationships/vmlDrawing" Target="../drawings/vmlDrawing4.vml"/><Relationship Id="rId14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5458" y="328551"/>
            <a:ext cx="7445502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5458" y="1020953"/>
            <a:ext cx="863422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46607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67728" y="6466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95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7" r:id="rId12"/>
    <p:sldLayoutId id="2147483838" r:id="rId13"/>
    <p:sldLayoutId id="2147483839" r:id="rId14"/>
    <p:sldLayoutId id="2147483840" r:id="rId15"/>
    <p:sldLayoutId id="2147483842" r:id="rId16"/>
    <p:sldLayoutId id="214748384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76146" y="6356350"/>
            <a:ext cx="1261242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0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b="1" i="0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Helvetica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Helvetica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Helvetica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sz="1800" kern="1200">
          <a:solidFill>
            <a:schemeClr val="tx1"/>
          </a:solidFill>
          <a:latin typeface="Helvetica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Helvetica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258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8" r:id="rId7"/>
    <p:sldLayoutId id="2147483952" r:id="rId8"/>
    <p:sldLayoutId id="2147483953" r:id="rId9"/>
    <p:sldLayoutId id="2147483954" r:id="rId10"/>
    <p:sldLayoutId id="2147483955" r:id="rId11"/>
    <p:sldLayoutId id="2147483957" r:id="rId12"/>
    <p:sldLayoutId id="2147483958" r:id="rId13"/>
    <p:sldLayoutId id="2147483959" r:id="rId14"/>
    <p:sldLayoutId id="2147483960" r:id="rId15"/>
    <p:sldLayoutId id="2147483961" r:id="rId16"/>
    <p:sldLayoutId id="2147483962" r:id="rId17"/>
    <p:sldLayoutId id="2147483964" r:id="rId18"/>
    <p:sldLayoutId id="2147483965" r:id="rId19"/>
    <p:sldLayoutId id="2147483968" r:id="rId20"/>
    <p:sldLayoutId id="2147483971" r:id="rId21"/>
    <p:sldLayoutId id="2147483974" r:id="rId22"/>
    <p:sldLayoutId id="2147483976" r:id="rId23"/>
    <p:sldLayoutId id="2147483977" r:id="rId2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8356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3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4" r:id="rId18"/>
    <p:sldLayoutId id="2147484065" r:id="rId1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284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7" r:id="rId7"/>
    <p:sldLayoutId id="2147484231" r:id="rId8"/>
    <p:sldLayoutId id="2147484232" r:id="rId9"/>
    <p:sldLayoutId id="2147484233" r:id="rId10"/>
    <p:sldLayoutId id="2147484234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3" r:id="rId18"/>
    <p:sldLayoutId id="2147484244" r:id="rId19"/>
    <p:sldLayoutId id="2147484247" r:id="rId20"/>
    <p:sldLayoutId id="2147484250" r:id="rId21"/>
    <p:sldLayoutId id="2147484253" r:id="rId22"/>
    <p:sldLayoutId id="2147484256" r:id="rId2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8" descr="bottombann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84927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272" name="Picture 2072"/>
          <p:cNvPicPr>
            <a:picLocks noChangeAspect="1" noChangeArrowheads="1"/>
          </p:cNvPicPr>
          <p:nvPr userDrawn="1"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59" y="197334"/>
            <a:ext cx="2257133" cy="490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0" y="921279"/>
            <a:ext cx="9144000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6850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1" r:id="rId1"/>
    <p:sldLayoutId id="2147484492" r:id="rId2"/>
    <p:sldLayoutId id="2147484493" r:id="rId3"/>
    <p:sldLayoutId id="2147484494" r:id="rId4"/>
    <p:sldLayoutId id="2147484496" r:id="rId5"/>
    <p:sldLayoutId id="2147484497" r:id="rId6"/>
    <p:sldLayoutId id="2147484498" r:id="rId7"/>
  </p:sldLayoutIdLst>
  <p:hf hdr="0" ftr="0" dt="0"/>
  <p:txStyles>
    <p:titleStyle>
      <a:lvl1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 kern="1200">
          <a:solidFill>
            <a:srgbClr val="004487"/>
          </a:solidFill>
          <a:latin typeface="+mj-lt"/>
          <a:ea typeface="ＭＳ Ｐゴシック" charset="-128"/>
          <a:cs typeface="ＭＳ Ｐゴシック" charset="-128"/>
        </a:defRPr>
      </a:lvl1pPr>
      <a:lvl2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2pPr>
      <a:lvl3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3pPr>
      <a:lvl4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4pPr>
      <a:lvl5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5pPr>
      <a:lvl6pPr marL="34286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6pPr>
      <a:lvl7pPr marL="68572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7pPr>
      <a:lvl8pPr marL="102858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8pPr>
      <a:lvl9pPr marL="137144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191669" indent="-122621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sz="1500" b="1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417861" indent="-142859" algn="l" defTabSz="342860" rtl="0" eaLnBrk="1" fontAlgn="base" hangingPunct="1">
        <a:spcBef>
          <a:spcPct val="20000"/>
        </a:spcBef>
        <a:spcAft>
          <a:spcPct val="0"/>
        </a:spcAft>
        <a:buSzPct val="116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2pPr>
      <a:lvl3pPr marL="651196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3pPr>
      <a:lvl4pPr marL="857150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4pPr>
      <a:lvl5pPr marL="1061914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5pPr>
      <a:lvl6pPr marL="188573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49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59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79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07547" y="1608490"/>
            <a:ext cx="4283040" cy="1470025"/>
          </a:xfrm>
        </p:spPr>
        <p:txBody>
          <a:bodyPr>
            <a:normAutofit/>
          </a:bodyPr>
          <a:lstStyle/>
          <a:p>
            <a:r>
              <a:rPr lang="en-US" sz="3200" dirty="0"/>
              <a:t>Irradiance Me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07547" y="3268577"/>
            <a:ext cx="4283040" cy="1752600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/>
              <a:t>Alex Polyanskiy</a:t>
            </a:r>
          </a:p>
          <a:p>
            <a:endParaRPr lang="en-US" sz="2400" dirty="0"/>
          </a:p>
          <a:p>
            <a:r>
              <a:rPr lang="en-US" sz="2400" dirty="0"/>
              <a:t>Montana State University</a:t>
            </a:r>
          </a:p>
          <a:p>
            <a:endParaRPr lang="en-US" sz="2400" dirty="0"/>
          </a:p>
          <a:p>
            <a:r>
              <a:rPr lang="en-US" sz="2400" dirty="0"/>
              <a:t>Bozeman, M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7240BD-E4F3-45D6-BFAC-E65545691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35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48AAC-23B1-4330-8862-C32F80EA4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easuring Solar Irradi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410F4BB8-F1B1-4437-BCBB-1B3D95AC28D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35458" y="1020954"/>
                <a:ext cx="8222742" cy="804862"/>
              </a:xfrm>
            </p:spPr>
            <p:txBody>
              <a:bodyPr/>
              <a:lstStyle/>
              <a:p>
                <a:r>
                  <a:rPr lang="en-US" dirty="0"/>
                  <a:t>Solar Irradiance is radiant flux (power) per unit area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num>
                      <m:den>
                        <m:sSup>
                          <m:sSup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</m:oMath>
                </a14:m>
                <a:r>
                  <a:rPr lang="en-US" dirty="0"/>
                  <a:t>) received from the sun</a:t>
                </a:r>
              </a:p>
              <a:p>
                <a:r>
                  <a:rPr lang="en-US" dirty="0"/>
                  <a:t>A pyranometer measure global irradiance (direct + diffused)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410F4BB8-F1B1-4437-BCBB-1B3D95AC28D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35458" y="1020954"/>
                <a:ext cx="8222742" cy="804862"/>
              </a:xfrm>
              <a:blipFill>
                <a:blip r:embed="rId2"/>
                <a:stretch>
                  <a:fillRect l="-1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DD521EE-6A48-4A1B-97EC-20E0AC18D6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269020"/>
              </p:ext>
            </p:extLst>
          </p:nvPr>
        </p:nvGraphicFramePr>
        <p:xfrm>
          <a:off x="235458" y="1825816"/>
          <a:ext cx="8679942" cy="4724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3314">
                  <a:extLst>
                    <a:ext uri="{9D8B030D-6E8A-4147-A177-3AD203B41FA5}">
                      <a16:colId xmlns:a16="http://schemas.microsoft.com/office/drawing/2014/main" val="2821731877"/>
                    </a:ext>
                  </a:extLst>
                </a:gridCol>
                <a:gridCol w="2893314">
                  <a:extLst>
                    <a:ext uri="{9D8B030D-6E8A-4147-A177-3AD203B41FA5}">
                      <a16:colId xmlns:a16="http://schemas.microsoft.com/office/drawing/2014/main" val="3248288266"/>
                    </a:ext>
                  </a:extLst>
                </a:gridCol>
                <a:gridCol w="2893314">
                  <a:extLst>
                    <a:ext uri="{9D8B030D-6E8A-4147-A177-3AD203B41FA5}">
                      <a16:colId xmlns:a16="http://schemas.microsoft.com/office/drawing/2014/main" val="4250463160"/>
                    </a:ext>
                  </a:extLst>
                </a:gridCol>
              </a:tblGrid>
              <a:tr h="436668">
                <a:tc>
                  <a:txBody>
                    <a:bodyPr/>
                    <a:lstStyle/>
                    <a:p>
                      <a:r>
                        <a:rPr lang="en-US" dirty="0"/>
                        <a:t>Thermop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hotod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ference C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24916"/>
                  </a:ext>
                </a:extLst>
              </a:tr>
              <a:tr h="428781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Flat Spectral Respon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Highest Accurac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Most Expensi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Not used in handheld 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pectrally Selective, not what a panel se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Least Accura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Least Expensi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quires angle corr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losely matches PV panel spectral respon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Accurate to PV Pane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ost depends on the Cell Calibr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ees what a solar panel se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628479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406FE0F-511C-4CA3-9476-F040699CE7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030" y="4480749"/>
            <a:ext cx="2703939" cy="18062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E5AE1E-D83E-4BDE-A310-674E13E7DF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7333" y="4319199"/>
            <a:ext cx="2129333" cy="2129333"/>
          </a:xfrm>
          <a:prstGeom prst="rect">
            <a:avLst/>
          </a:prstGeom>
        </p:spPr>
      </p:pic>
      <p:pic>
        <p:nvPicPr>
          <p:cNvPr id="75778" name="Picture 2" descr="Image result for reference cell solar">
            <a:extLst>
              <a:ext uri="{FF2B5EF4-FFF2-40B4-BE49-F238E27FC236}">
                <a16:creationId xmlns:a16="http://schemas.microsoft.com/office/drawing/2014/main" id="{18D51A44-87E5-4646-9DD0-3FB4CBCDE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030" y="4627038"/>
            <a:ext cx="2705142" cy="151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10B74FB-0BB9-44BF-A184-2C5593E3FC96}"/>
              </a:ext>
            </a:extLst>
          </p:cNvPr>
          <p:cNvSpPr txBox="1"/>
          <p:nvPr/>
        </p:nvSpPr>
        <p:spPr>
          <a:xfrm>
            <a:off x="8360857" y="6501286"/>
            <a:ext cx="3874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5714536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A7D61-C125-420C-9EF4-4F510CBFD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458" y="328551"/>
            <a:ext cx="7445502" cy="549274"/>
          </a:xfrm>
        </p:spPr>
        <p:txBody>
          <a:bodyPr/>
          <a:lstStyle/>
          <a:p>
            <a:r>
              <a:rPr lang="en-US" sz="3200" dirty="0"/>
              <a:t>First Design</a:t>
            </a:r>
          </a:p>
        </p:txBody>
      </p:sp>
      <p:pic>
        <p:nvPicPr>
          <p:cNvPr id="76802" name="Picture 2" descr="463375144173500471633452">
            <a:extLst>
              <a:ext uri="{FF2B5EF4-FFF2-40B4-BE49-F238E27FC236}">
                <a16:creationId xmlns:a16="http://schemas.microsoft.com/office/drawing/2014/main" id="{EEBC88B7-C761-4CF8-A017-00B3D1C823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9" t="9699" r="8396" b="4628"/>
          <a:stretch/>
        </p:blipFill>
        <p:spPr bwMode="auto">
          <a:xfrm>
            <a:off x="2670928" y="3626236"/>
            <a:ext cx="3991708" cy="3023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F0B3F-EB76-48E3-89E7-48C787D934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782" y="976992"/>
            <a:ext cx="4572000" cy="25498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55606FD-64E1-4657-84E6-036592422AA7}"/>
              </a:ext>
            </a:extLst>
          </p:cNvPr>
          <p:cNvSpPr txBox="1"/>
          <p:nvPr/>
        </p:nvSpPr>
        <p:spPr>
          <a:xfrm>
            <a:off x="745258" y="5623809"/>
            <a:ext cx="1811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Microcontroll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8B887A-44E6-4412-8E25-7566CE69C3C6}"/>
              </a:ext>
            </a:extLst>
          </p:cNvPr>
          <p:cNvSpPr txBox="1"/>
          <p:nvPr/>
        </p:nvSpPr>
        <p:spPr>
          <a:xfrm>
            <a:off x="5564082" y="4079048"/>
            <a:ext cx="12836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olar Cel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38A7FC-F2EA-4301-919E-D158AD7D00A2}"/>
              </a:ext>
            </a:extLst>
          </p:cNvPr>
          <p:cNvSpPr txBox="1"/>
          <p:nvPr/>
        </p:nvSpPr>
        <p:spPr>
          <a:xfrm>
            <a:off x="5807450" y="6307955"/>
            <a:ext cx="14226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Inclinome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E5883E-B701-464C-84EA-745CE8812F87}"/>
              </a:ext>
            </a:extLst>
          </p:cNvPr>
          <p:cNvSpPr txBox="1"/>
          <p:nvPr/>
        </p:nvSpPr>
        <p:spPr>
          <a:xfrm>
            <a:off x="366222" y="5138283"/>
            <a:ext cx="21902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emperature Senso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B5DC92-5767-4FAF-853C-7E28D8A7541B}"/>
              </a:ext>
            </a:extLst>
          </p:cNvPr>
          <p:cNvSpPr txBox="1"/>
          <p:nvPr/>
        </p:nvSpPr>
        <p:spPr>
          <a:xfrm>
            <a:off x="3780914" y="6388182"/>
            <a:ext cx="7708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LCD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B5F6082-41F1-4C3E-A87D-5D0F9D574B74}"/>
              </a:ext>
            </a:extLst>
          </p:cNvPr>
          <p:cNvSpPr/>
          <p:nvPr/>
        </p:nvSpPr>
        <p:spPr>
          <a:xfrm>
            <a:off x="4166348" y="4309453"/>
            <a:ext cx="844061" cy="567637"/>
          </a:xfrm>
          <a:prstGeom prst="ellipse">
            <a:avLst/>
          </a:prstGeom>
          <a:noFill/>
          <a:ln w="28575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5D9215A-877D-4D08-8721-B967E8FFD326}"/>
              </a:ext>
            </a:extLst>
          </p:cNvPr>
          <p:cNvCxnSpPr>
            <a:stCxn id="11" idx="3"/>
          </p:cNvCxnSpPr>
          <p:nvPr/>
        </p:nvCxnSpPr>
        <p:spPr>
          <a:xfrm flipV="1">
            <a:off x="2556474" y="4712677"/>
            <a:ext cx="1609874" cy="594883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0211F7D-30EB-4A7D-828C-4E1D710B8715}"/>
              </a:ext>
            </a:extLst>
          </p:cNvPr>
          <p:cNvCxnSpPr>
            <a:stCxn id="8" idx="3"/>
          </p:cNvCxnSpPr>
          <p:nvPr/>
        </p:nvCxnSpPr>
        <p:spPr>
          <a:xfrm flipV="1">
            <a:off x="2556474" y="5710784"/>
            <a:ext cx="1452819" cy="82302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90B8EB3-E633-46DA-98CF-2F3376F6889D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4551781" y="6307955"/>
            <a:ext cx="458628" cy="249504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A584171-F808-43D0-B860-CD97F790DAEF}"/>
              </a:ext>
            </a:extLst>
          </p:cNvPr>
          <p:cNvCxnSpPr>
            <a:cxnSpLocks/>
            <a:stCxn id="10" idx="1"/>
          </p:cNvCxnSpPr>
          <p:nvPr/>
        </p:nvCxnSpPr>
        <p:spPr>
          <a:xfrm flipH="1" flipV="1">
            <a:off x="5781276" y="5710784"/>
            <a:ext cx="26174" cy="766448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5F52182-FFFC-4FBB-984C-44E46C0FCFC9}"/>
              </a:ext>
            </a:extLst>
          </p:cNvPr>
          <p:cNvCxnSpPr>
            <a:stCxn id="9" idx="1"/>
          </p:cNvCxnSpPr>
          <p:nvPr/>
        </p:nvCxnSpPr>
        <p:spPr>
          <a:xfrm flipH="1">
            <a:off x="5380893" y="4248325"/>
            <a:ext cx="183189" cy="169277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E40BCBA1-3925-462E-87CA-A04FEA720903}"/>
              </a:ext>
            </a:extLst>
          </p:cNvPr>
          <p:cNvSpPr/>
          <p:nvPr/>
        </p:nvSpPr>
        <p:spPr>
          <a:xfrm>
            <a:off x="4781095" y="1669972"/>
            <a:ext cx="562708" cy="436909"/>
          </a:xfrm>
          <a:prstGeom prst="ellipse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E243FE2-FE5E-470E-956B-8E7DB3950D25}"/>
              </a:ext>
            </a:extLst>
          </p:cNvPr>
          <p:cNvCxnSpPr>
            <a:stCxn id="11" idx="3"/>
            <a:endCxn id="26" idx="3"/>
          </p:cNvCxnSpPr>
          <p:nvPr/>
        </p:nvCxnSpPr>
        <p:spPr>
          <a:xfrm flipV="1">
            <a:off x="2556474" y="2042897"/>
            <a:ext cx="2307028" cy="3264663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804" name="Picture 4" descr="Image result for kicad logo">
            <a:extLst>
              <a:ext uri="{FF2B5EF4-FFF2-40B4-BE49-F238E27FC236}">
                <a16:creationId xmlns:a16="http://schemas.microsoft.com/office/drawing/2014/main" id="{8B5EE02D-E3EC-4E1F-9BF8-65564CE91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6395" y="1150385"/>
            <a:ext cx="1805912" cy="73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8A93134A-3BA5-4FAD-B46F-BCAF93C149E8}"/>
              </a:ext>
            </a:extLst>
          </p:cNvPr>
          <p:cNvCxnSpPr>
            <a:stCxn id="9" idx="0"/>
          </p:cNvCxnSpPr>
          <p:nvPr/>
        </p:nvCxnSpPr>
        <p:spPr>
          <a:xfrm flipV="1">
            <a:off x="6205921" y="2479431"/>
            <a:ext cx="159710" cy="15996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A9D8FD0F-A408-47C3-B31A-83B2A1D513DB}"/>
              </a:ext>
            </a:extLst>
          </p:cNvPr>
          <p:cNvSpPr txBox="1"/>
          <p:nvPr/>
        </p:nvSpPr>
        <p:spPr>
          <a:xfrm>
            <a:off x="8331156" y="6508009"/>
            <a:ext cx="424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60868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23A55-1F8A-4375-BCF3-16ACAD8CB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esul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D74D92-AA1F-4527-8EA8-9BF816F43D61}"/>
              </a:ext>
            </a:extLst>
          </p:cNvPr>
          <p:cNvSpPr txBox="1"/>
          <p:nvPr/>
        </p:nvSpPr>
        <p:spPr>
          <a:xfrm>
            <a:off x="8343899" y="6534618"/>
            <a:ext cx="378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07644B0-5020-4DC8-A657-08690365A2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8849035"/>
              </p:ext>
            </p:extLst>
          </p:nvPr>
        </p:nvGraphicFramePr>
        <p:xfrm>
          <a:off x="803793" y="921543"/>
          <a:ext cx="7536413" cy="5607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77450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F72720-B26B-4824-97C0-22B127AA9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odel 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0FF970-A3CD-4C3D-B45C-2935835F88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24798" y="2778310"/>
            <a:ext cx="5379604" cy="2122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766B70-DF6E-42DE-8BF1-51A8FC01EF05}"/>
              </a:ext>
            </a:extLst>
          </p:cNvPr>
          <p:cNvSpPr txBox="1"/>
          <p:nvPr/>
        </p:nvSpPr>
        <p:spPr>
          <a:xfrm>
            <a:off x="1960210" y="3028978"/>
            <a:ext cx="674099" cy="3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D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ADD852-CC6B-4D57-AC58-E60E51192C98}"/>
              </a:ext>
            </a:extLst>
          </p:cNvPr>
          <p:cNvSpPr txBox="1"/>
          <p:nvPr/>
        </p:nvSpPr>
        <p:spPr>
          <a:xfrm>
            <a:off x="714644" y="3398255"/>
            <a:ext cx="1582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lar Cel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1127598-907A-425E-A01B-79176037EC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85" y="3798332"/>
            <a:ext cx="5785338" cy="27993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AFA0965-3AC7-4E60-A4E6-A18D52F10EEF}"/>
              </a:ext>
            </a:extLst>
          </p:cNvPr>
          <p:cNvSpPr txBox="1"/>
          <p:nvPr/>
        </p:nvSpPr>
        <p:spPr>
          <a:xfrm>
            <a:off x="2423011" y="3376302"/>
            <a:ext cx="1204547" cy="3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luetoot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EF255B-975C-483A-98B6-89DA3561E3ED}"/>
              </a:ext>
            </a:extLst>
          </p:cNvPr>
          <p:cNvSpPr txBox="1"/>
          <p:nvPr/>
        </p:nvSpPr>
        <p:spPr>
          <a:xfrm>
            <a:off x="3627558" y="3024555"/>
            <a:ext cx="11074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t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75D5AD-2D85-4C4A-9126-2ED394F68932}"/>
              </a:ext>
            </a:extLst>
          </p:cNvPr>
          <p:cNvSpPr txBox="1"/>
          <p:nvPr/>
        </p:nvSpPr>
        <p:spPr>
          <a:xfrm>
            <a:off x="1244779" y="6055859"/>
            <a:ext cx="2122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unting Ho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B1304C-3E59-4805-B4C1-3BEE1E57E258}"/>
              </a:ext>
            </a:extLst>
          </p:cNvPr>
          <p:cNvSpPr txBox="1"/>
          <p:nvPr/>
        </p:nvSpPr>
        <p:spPr>
          <a:xfrm>
            <a:off x="4374366" y="3376247"/>
            <a:ext cx="1707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mocoupl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1667419-485A-471F-8EBF-D1BB12B62868}"/>
              </a:ext>
            </a:extLst>
          </p:cNvPr>
          <p:cNvCxnSpPr>
            <a:stCxn id="9" idx="2"/>
          </p:cNvCxnSpPr>
          <p:nvPr/>
        </p:nvCxnSpPr>
        <p:spPr>
          <a:xfrm>
            <a:off x="1505952" y="3767587"/>
            <a:ext cx="0" cy="89233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9F3E619-4AAF-415B-A6CA-113C9E6F5554}"/>
              </a:ext>
            </a:extLst>
          </p:cNvPr>
          <p:cNvCxnSpPr>
            <a:stCxn id="8" idx="2"/>
          </p:cNvCxnSpPr>
          <p:nvPr/>
        </p:nvCxnSpPr>
        <p:spPr>
          <a:xfrm>
            <a:off x="2297260" y="3398255"/>
            <a:ext cx="234925" cy="105944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843AF12-F7EF-4253-A360-20169586939F}"/>
              </a:ext>
            </a:extLst>
          </p:cNvPr>
          <p:cNvCxnSpPr>
            <a:stCxn id="12" idx="2"/>
          </p:cNvCxnSpPr>
          <p:nvPr/>
        </p:nvCxnSpPr>
        <p:spPr>
          <a:xfrm>
            <a:off x="3025285" y="3745579"/>
            <a:ext cx="102163" cy="91434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54EFCD3-C4B1-4E87-8A82-F511D78B4895}"/>
              </a:ext>
            </a:extLst>
          </p:cNvPr>
          <p:cNvCxnSpPr>
            <a:stCxn id="13" idx="2"/>
          </p:cNvCxnSpPr>
          <p:nvPr/>
        </p:nvCxnSpPr>
        <p:spPr>
          <a:xfrm>
            <a:off x="4181281" y="3393887"/>
            <a:ext cx="0" cy="225752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6168136-9291-4272-95F5-67CA072D6C01}"/>
              </a:ext>
            </a:extLst>
          </p:cNvPr>
          <p:cNvCxnSpPr>
            <a:stCxn id="13" idx="2"/>
          </p:cNvCxnSpPr>
          <p:nvPr/>
        </p:nvCxnSpPr>
        <p:spPr>
          <a:xfrm>
            <a:off x="4181281" y="3393887"/>
            <a:ext cx="74196" cy="199579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59D713A-DF60-421C-9BCF-0B80976492FE}"/>
              </a:ext>
            </a:extLst>
          </p:cNvPr>
          <p:cNvCxnSpPr>
            <a:stCxn id="13" idx="2"/>
          </p:cNvCxnSpPr>
          <p:nvPr/>
        </p:nvCxnSpPr>
        <p:spPr>
          <a:xfrm>
            <a:off x="4181281" y="3393887"/>
            <a:ext cx="193085" cy="167927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D2419C2-CF17-4356-A9AE-A3918289BED8}"/>
              </a:ext>
            </a:extLst>
          </p:cNvPr>
          <p:cNvCxnSpPr>
            <a:stCxn id="15" idx="2"/>
          </p:cNvCxnSpPr>
          <p:nvPr/>
        </p:nvCxnSpPr>
        <p:spPr>
          <a:xfrm flipH="1">
            <a:off x="5029200" y="3745579"/>
            <a:ext cx="198943" cy="132758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0BFBAB6-B4C5-4D91-A30A-9D589FAA3695}"/>
              </a:ext>
            </a:extLst>
          </p:cNvPr>
          <p:cNvCxnSpPr>
            <a:stCxn id="14" idx="0"/>
          </p:cNvCxnSpPr>
          <p:nvPr/>
        </p:nvCxnSpPr>
        <p:spPr>
          <a:xfrm flipH="1" flipV="1">
            <a:off x="1380392" y="5583115"/>
            <a:ext cx="925725" cy="47274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5BA6337-59AC-4E60-93D9-8A6D22692C63}"/>
              </a:ext>
            </a:extLst>
          </p:cNvPr>
          <p:cNvCxnSpPr>
            <a:stCxn id="14" idx="0"/>
          </p:cNvCxnSpPr>
          <p:nvPr/>
        </p:nvCxnSpPr>
        <p:spPr>
          <a:xfrm flipH="1" flipV="1">
            <a:off x="2074985" y="4391786"/>
            <a:ext cx="231132" cy="166407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18E723E-F530-43FC-B6F5-5FB36F90B1BF}"/>
              </a:ext>
            </a:extLst>
          </p:cNvPr>
          <p:cNvCxnSpPr/>
          <p:nvPr/>
        </p:nvCxnSpPr>
        <p:spPr>
          <a:xfrm>
            <a:off x="2306116" y="6055859"/>
            <a:ext cx="3329753" cy="18466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8F1C4DC-9D57-4FEF-BB65-4C84F5AEDA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51" y="1132050"/>
            <a:ext cx="4856518" cy="1967964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06DE6D1-F964-465B-A5EF-AF99A680545C}"/>
              </a:ext>
            </a:extLst>
          </p:cNvPr>
          <p:cNvCxnSpPr>
            <a:stCxn id="9" idx="0"/>
          </p:cNvCxnSpPr>
          <p:nvPr/>
        </p:nvCxnSpPr>
        <p:spPr>
          <a:xfrm flipV="1">
            <a:off x="1505952" y="1937758"/>
            <a:ext cx="384394" cy="146049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2950CD4-018C-474B-9CA8-643E03D5B3D2}"/>
              </a:ext>
            </a:extLst>
          </p:cNvPr>
          <p:cNvCxnSpPr/>
          <p:nvPr/>
        </p:nvCxnSpPr>
        <p:spPr>
          <a:xfrm flipV="1">
            <a:off x="2297260" y="2013438"/>
            <a:ext cx="337049" cy="10111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341F2D2-7E19-4921-88FE-07DE603C1A68}"/>
              </a:ext>
            </a:extLst>
          </p:cNvPr>
          <p:cNvCxnSpPr/>
          <p:nvPr/>
        </p:nvCxnSpPr>
        <p:spPr>
          <a:xfrm flipH="1" flipV="1">
            <a:off x="3627558" y="2118946"/>
            <a:ext cx="553723" cy="90560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3A9DC5B-A9AD-4E7B-98C8-5E947765C845}"/>
              </a:ext>
            </a:extLst>
          </p:cNvPr>
          <p:cNvCxnSpPr/>
          <p:nvPr/>
        </p:nvCxnSpPr>
        <p:spPr>
          <a:xfrm flipH="1" flipV="1">
            <a:off x="3727938" y="2013438"/>
            <a:ext cx="453343" cy="10111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8E645D2-A29A-450E-8E96-0E149191DEC7}"/>
              </a:ext>
            </a:extLst>
          </p:cNvPr>
          <p:cNvCxnSpPr/>
          <p:nvPr/>
        </p:nvCxnSpPr>
        <p:spPr>
          <a:xfrm flipH="1" flipV="1">
            <a:off x="3833446" y="1937758"/>
            <a:ext cx="347835" cy="108679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28C7356-29BE-4299-AF4C-39C59E483FB4}"/>
              </a:ext>
            </a:extLst>
          </p:cNvPr>
          <p:cNvCxnSpPr>
            <a:stCxn id="15" idx="0"/>
          </p:cNvCxnSpPr>
          <p:nvPr/>
        </p:nvCxnSpPr>
        <p:spPr>
          <a:xfrm flipH="1" flipV="1">
            <a:off x="4967654" y="2365131"/>
            <a:ext cx="260489" cy="10111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1558C75-6828-459C-B3E4-45E1D502F7CB}"/>
              </a:ext>
            </a:extLst>
          </p:cNvPr>
          <p:cNvSpPr txBox="1"/>
          <p:nvPr/>
        </p:nvSpPr>
        <p:spPr>
          <a:xfrm>
            <a:off x="8322798" y="6524471"/>
            <a:ext cx="3464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79468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6C065BC-E96E-4B53-8007-770B307FBF82}"/>
              </a:ext>
            </a:extLst>
          </p:cNvPr>
          <p:cNvSpPr/>
          <p:nvPr/>
        </p:nvSpPr>
        <p:spPr>
          <a:xfrm>
            <a:off x="123092" y="3086044"/>
            <a:ext cx="4677508" cy="3675241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93FCC8F-91C0-45AB-9A45-426C5A31D21E}"/>
              </a:ext>
            </a:extLst>
          </p:cNvPr>
          <p:cNvSpPr/>
          <p:nvPr/>
        </p:nvSpPr>
        <p:spPr>
          <a:xfrm>
            <a:off x="123093" y="961988"/>
            <a:ext cx="4677508" cy="2009812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8D1E82-73A5-418F-89F9-9CF0B559A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Additional Tasks</a:t>
            </a:r>
          </a:p>
        </p:txBody>
      </p:sp>
      <p:pic>
        <p:nvPicPr>
          <p:cNvPr id="75778" name="Picture 2" descr="Image result for solar panels">
            <a:extLst>
              <a:ext uri="{FF2B5EF4-FFF2-40B4-BE49-F238E27FC236}">
                <a16:creationId xmlns:a16="http://schemas.microsoft.com/office/drawing/2014/main" id="{3FB71929-5BB2-41C6-A011-6AAE63B7A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169" y="1515985"/>
            <a:ext cx="2717353" cy="1350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0" name="Picture 4" descr="Image result for Solar simulators">
            <a:extLst>
              <a:ext uri="{FF2B5EF4-FFF2-40B4-BE49-F238E27FC236}">
                <a16:creationId xmlns:a16="http://schemas.microsoft.com/office/drawing/2014/main" id="{40F47852-4B02-4907-B838-042C2C980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065" y="4619741"/>
            <a:ext cx="2841381" cy="213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2" name="Picture 6" descr="Image result for DC combiner box, 1500 V">
            <a:extLst>
              <a:ext uri="{FF2B5EF4-FFF2-40B4-BE49-F238E27FC236}">
                <a16:creationId xmlns:a16="http://schemas.microsoft.com/office/drawing/2014/main" id="{34179D7E-D467-487B-A094-ECD60D9A4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4150" y="1362064"/>
            <a:ext cx="3524829" cy="235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4" name="Picture 8" descr="Image result for Solar cell calibration">
            <a:extLst>
              <a:ext uri="{FF2B5EF4-FFF2-40B4-BE49-F238E27FC236}">
                <a16:creationId xmlns:a16="http://schemas.microsoft.com/office/drawing/2014/main" id="{BFE808CD-C548-4876-BDE2-F9A102CA5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69" y="3429000"/>
            <a:ext cx="4187131" cy="315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A1458B-77E4-45C2-B446-8E69A31DCE72}"/>
              </a:ext>
            </a:extLst>
          </p:cNvPr>
          <p:cNvSpPr txBox="1"/>
          <p:nvPr/>
        </p:nvSpPr>
        <p:spPr>
          <a:xfrm>
            <a:off x="1182564" y="1101315"/>
            <a:ext cx="2558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Solar Panel Resear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4658A2-ABD3-48F5-8487-E3C4417CCB62}"/>
              </a:ext>
            </a:extLst>
          </p:cNvPr>
          <p:cNvSpPr txBox="1"/>
          <p:nvPr/>
        </p:nvSpPr>
        <p:spPr>
          <a:xfrm>
            <a:off x="5301761" y="961987"/>
            <a:ext cx="3103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DC Combiner Box Resear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627E7D-1CDD-42AE-8770-AA786AC5FA23}"/>
              </a:ext>
            </a:extLst>
          </p:cNvPr>
          <p:cNvSpPr txBox="1"/>
          <p:nvPr/>
        </p:nvSpPr>
        <p:spPr>
          <a:xfrm>
            <a:off x="5333999" y="4250409"/>
            <a:ext cx="3425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Solar Simulator Resear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CCA1EE-E252-4526-AEE4-57E8CAB5A3AC}"/>
              </a:ext>
            </a:extLst>
          </p:cNvPr>
          <p:cNvSpPr txBox="1"/>
          <p:nvPr/>
        </p:nvSpPr>
        <p:spPr>
          <a:xfrm>
            <a:off x="1199153" y="3086045"/>
            <a:ext cx="2558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Calibration Techniqu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EFDBE3A-66A2-4DFE-B049-ADAE1A282776}"/>
              </a:ext>
            </a:extLst>
          </p:cNvPr>
          <p:cNvSpPr/>
          <p:nvPr/>
        </p:nvSpPr>
        <p:spPr>
          <a:xfrm>
            <a:off x="4960532" y="961987"/>
            <a:ext cx="4060376" cy="2915421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834EA30-89E1-43F3-AD28-7E2BE47454B1}"/>
              </a:ext>
            </a:extLst>
          </p:cNvPr>
          <p:cNvSpPr/>
          <p:nvPr/>
        </p:nvSpPr>
        <p:spPr>
          <a:xfrm>
            <a:off x="4960532" y="4176346"/>
            <a:ext cx="4060376" cy="2584939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14D713-F839-46C0-8F27-E19F43942E7B}"/>
              </a:ext>
            </a:extLst>
          </p:cNvPr>
          <p:cNvSpPr txBox="1"/>
          <p:nvPr/>
        </p:nvSpPr>
        <p:spPr>
          <a:xfrm>
            <a:off x="8291615" y="6466702"/>
            <a:ext cx="687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628086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78FCD-45F2-4F08-9B7D-2B3F4DF9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458" y="302174"/>
            <a:ext cx="7445502" cy="549274"/>
          </a:xfrm>
        </p:spPr>
        <p:txBody>
          <a:bodyPr/>
          <a:lstStyle/>
          <a:p>
            <a:r>
              <a:rPr lang="en-US" sz="3200" dirty="0"/>
              <a:t>Internship Take-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31CE67-2668-4DDD-BF90-CF332B5AF4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esign Review, what to consider, how to select parts</a:t>
            </a:r>
          </a:p>
          <a:p>
            <a:r>
              <a:rPr lang="en-US" sz="2400" dirty="0"/>
              <a:t>PCB Design</a:t>
            </a:r>
          </a:p>
          <a:p>
            <a:r>
              <a:rPr lang="en-US" sz="2400" dirty="0"/>
              <a:t>Error Analysis</a:t>
            </a:r>
          </a:p>
          <a:p>
            <a:r>
              <a:rPr lang="en-US" sz="2400" dirty="0"/>
              <a:t>Working with Computer Engineering and Mechanical Engineering</a:t>
            </a:r>
          </a:p>
          <a:p>
            <a:r>
              <a:rPr lang="en-US" sz="2400" dirty="0"/>
              <a:t>Corporate Environment</a:t>
            </a:r>
          </a:p>
          <a:p>
            <a:r>
              <a:rPr lang="en-US" sz="2400" dirty="0"/>
              <a:t>Meeting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13B5CD-2D6D-47ED-87E5-9146FED70B82}"/>
              </a:ext>
            </a:extLst>
          </p:cNvPr>
          <p:cNvSpPr txBox="1"/>
          <p:nvPr/>
        </p:nvSpPr>
        <p:spPr>
          <a:xfrm>
            <a:off x="8280596" y="6466701"/>
            <a:ext cx="395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7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21B2DF-12C8-4A68-9257-7E848B290A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416" y="2843242"/>
            <a:ext cx="4800834" cy="3601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470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DB030-83CB-455E-8FBF-837AD4E60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Feedba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3DE481-FAD5-4ABF-A6AD-79121C77A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458" y="1020953"/>
            <a:ext cx="8634222" cy="5573278"/>
          </a:xfrm>
        </p:spPr>
        <p:txBody>
          <a:bodyPr>
            <a:normAutofit/>
          </a:bodyPr>
          <a:lstStyle/>
          <a:p>
            <a:r>
              <a:rPr lang="en-US" sz="1800" u="sng" dirty="0"/>
              <a:t>Positive</a:t>
            </a:r>
          </a:p>
          <a:p>
            <a:pPr lvl="1"/>
            <a:r>
              <a:rPr lang="en-US" sz="1800" dirty="0"/>
              <a:t>Great coffee machine</a:t>
            </a:r>
          </a:p>
          <a:p>
            <a:pPr lvl="1"/>
            <a:r>
              <a:rPr lang="en-US" sz="1800" dirty="0"/>
              <a:t>Great experience with a project (from nothing to a final product)</a:t>
            </a:r>
          </a:p>
          <a:p>
            <a:pPr lvl="1"/>
            <a:r>
              <a:rPr lang="en-US" sz="1800" dirty="0"/>
              <a:t>Everyone will take time and help</a:t>
            </a:r>
          </a:p>
          <a:p>
            <a:pPr lvl="1"/>
            <a:r>
              <a:rPr lang="en-US" sz="1800" dirty="0"/>
              <a:t>Freedom</a:t>
            </a:r>
          </a:p>
          <a:p>
            <a:pPr lvl="1"/>
            <a:r>
              <a:rPr lang="en-US" sz="1800" dirty="0"/>
              <a:t>Multidisciplinary</a:t>
            </a:r>
          </a:p>
          <a:p>
            <a:pPr lvl="1"/>
            <a:r>
              <a:rPr lang="en-US" sz="1800" dirty="0"/>
              <a:t>Feedback from Josh and Paul</a:t>
            </a:r>
            <a:endParaRPr lang="en-US" sz="1800" u="sng" dirty="0"/>
          </a:p>
          <a:p>
            <a:r>
              <a:rPr lang="en-US" sz="1800" u="sng" dirty="0"/>
              <a:t>Improvement</a:t>
            </a:r>
          </a:p>
          <a:p>
            <a:pPr lvl="1"/>
            <a:r>
              <a:rPr lang="en-US" sz="1800" dirty="0"/>
              <a:t>Intern events at the beginning of internship</a:t>
            </a:r>
          </a:p>
        </p:txBody>
      </p:sp>
      <p:pic>
        <p:nvPicPr>
          <p:cNvPr id="76802" name="Picture 2" descr="4947810472002589055412965">
            <a:extLst>
              <a:ext uri="{FF2B5EF4-FFF2-40B4-BE49-F238E27FC236}">
                <a16:creationId xmlns:a16="http://schemas.microsoft.com/office/drawing/2014/main" id="{A415F11E-EEC0-46A1-9B16-F7988798D3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4" t="4380" r="3561" b="4380"/>
          <a:stretch/>
        </p:blipFill>
        <p:spPr bwMode="auto">
          <a:xfrm>
            <a:off x="2517104" y="4312743"/>
            <a:ext cx="4070930" cy="2405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20994F7-0EED-4255-8272-6227568A9BFA}"/>
              </a:ext>
            </a:extLst>
          </p:cNvPr>
          <p:cNvSpPr txBox="1"/>
          <p:nvPr/>
        </p:nvSpPr>
        <p:spPr>
          <a:xfrm>
            <a:off x="8291145" y="6517981"/>
            <a:ext cx="2954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4136879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ei Strat Theme v2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i Strat Theme v2" id="{FEB81FB9-DA59-47D7-AC1E-EBCBFF7CCB3F}" vid="{4D5E8EB2-AB00-4029-8CF3-0616595008B5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6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4.xml><?xml version="1.0" encoding="utf-8"?>
<a:theme xmlns:a="http://schemas.openxmlformats.org/drawingml/2006/main" name="67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5.xml><?xml version="1.0" encoding="utf-8"?>
<a:theme xmlns:a="http://schemas.openxmlformats.org/drawingml/2006/main" name="17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6.xml><?xml version="1.0" encoding="utf-8"?>
<a:theme xmlns:a="http://schemas.openxmlformats.org/drawingml/2006/main" name="3_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lIns="45720" tIns="45720" rIns="45720" bIns="45720" rtlCol="0" anchor="ctr"/>
      <a:lstStyle>
        <a:defPPr>
          <a:defRPr sz="1000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ae57ab4-67b8-4914-9dd8-33afc50cc158">R5HKVDVZUFFQ-880-56</_dlc_DocId>
    <_dlc_DocIdUrl xmlns="5ae57ab4-67b8-4914-9dd8-33afc50cc158">
      <Url>http://fluke.intranet.danahertm.com/eng/l_2/_layouts/DocIdRedir.aspx?ID=R5HKVDVZUFFQ-880-56</Url>
      <Description>R5HKVDVZUFFQ-880-56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46C616F0C80140B706B17D6B6423ED" ma:contentTypeVersion="0" ma:contentTypeDescription="Create a new document." ma:contentTypeScope="" ma:versionID="199058ed9c247214dfdaa76d7c79a66c">
  <xsd:schema xmlns:xsd="http://www.w3.org/2001/XMLSchema" xmlns:xs="http://www.w3.org/2001/XMLSchema" xmlns:p="http://schemas.microsoft.com/office/2006/metadata/properties" xmlns:ns2="5ae57ab4-67b8-4914-9dd8-33afc50cc158" targetNamespace="http://schemas.microsoft.com/office/2006/metadata/properties" ma:root="true" ma:fieldsID="e94195a6f9d7ecd559b1618f41417bf7" ns2:_="">
    <xsd:import namespace="5ae57ab4-67b8-4914-9dd8-33afc50cc15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e57ab4-67b8-4914-9dd8-33afc50cc15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68343A72-54DA-41E7-AFE0-761D71EE1B7E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5ae57ab4-67b8-4914-9dd8-33afc50cc15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F799E85-6A55-4336-8D2B-B9B82263D0C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473492-6BE1-4C88-BB31-3495ABF54E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e57ab4-67b8-4914-9dd8-33afc50cc1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59F0022-AE4B-4B82-9209-7FD5C3BA0D63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449</TotalTime>
  <Words>221</Words>
  <Application>Microsoft Office PowerPoint</Application>
  <PresentationFormat>On-screen Show (4:3)</PresentationFormat>
  <Paragraphs>7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ＭＳ Ｐゴシック</vt:lpstr>
      <vt:lpstr>ＭＳ Ｐゴシック</vt:lpstr>
      <vt:lpstr>Arial</vt:lpstr>
      <vt:lpstr>Calibri</vt:lpstr>
      <vt:lpstr>Cambria Math</vt:lpstr>
      <vt:lpstr>Helvetica</vt:lpstr>
      <vt:lpstr>1_Wei Strat Theme v2</vt:lpstr>
      <vt:lpstr>6_Office Theme</vt:lpstr>
      <vt:lpstr>16_Strat 2015 Theme</vt:lpstr>
      <vt:lpstr>67_Strat 2015 Theme</vt:lpstr>
      <vt:lpstr>17_Strat 2015 Theme</vt:lpstr>
      <vt:lpstr>3_Presentation Template</vt:lpstr>
      <vt:lpstr>think-cell Slide</vt:lpstr>
      <vt:lpstr>Irradiance Meter</vt:lpstr>
      <vt:lpstr>Measuring Solar Irradiance</vt:lpstr>
      <vt:lpstr>First Design</vt:lpstr>
      <vt:lpstr>Results</vt:lpstr>
      <vt:lpstr>Model 2</vt:lpstr>
      <vt:lpstr>Additional Tasks</vt:lpstr>
      <vt:lpstr>Internship Take-aways</vt:lpstr>
      <vt:lpstr>Feedback</vt:lpstr>
    </vt:vector>
  </TitlesOfParts>
  <Company>Danaher T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u, Weishung</dc:creator>
  <cp:lastModifiedBy>Polyanskiy, Alex</cp:lastModifiedBy>
  <cp:revision>1110</cp:revision>
  <cp:lastPrinted>2016-11-15T16:30:33Z</cp:lastPrinted>
  <dcterms:created xsi:type="dcterms:W3CDTF">2015-10-27T19:57:55Z</dcterms:created>
  <dcterms:modified xsi:type="dcterms:W3CDTF">2019-08-07T22:2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5dba3c56-5806-4f20-be6b-73edff9f14e6</vt:lpwstr>
  </property>
  <property fmtid="{D5CDD505-2E9C-101B-9397-08002B2CF9AE}" pid="3" name="ContentTypeId">
    <vt:lpwstr>0x0101008F46C616F0C80140B706B17D6B6423ED</vt:lpwstr>
  </property>
</Properties>
</file>